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7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F6F6F6"/>
    <a:srgbClr val="E5E5E5"/>
    <a:srgbClr val="A8A8A8"/>
    <a:srgbClr val="8D8D8D"/>
    <a:srgbClr val="5A5A5A"/>
    <a:srgbClr val="BDBDBD"/>
    <a:srgbClr val="727272"/>
    <a:srgbClr val="D9D9D9"/>
    <a:srgbClr val="E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08:25:16.518" v="13" actId="27918"/>
      <pc:docMkLst>
        <pc:docMk/>
      </pc:docMkLst>
      <pc:sldChg chg="modSp mod">
        <pc:chgData name="Weigel Stefan (PAR-EPS)" userId="fd3b2067-2981-4ad8-bf3a-d2e1004e4fa8" providerId="ADAL" clId="{A4CFA2F4-FF8D-446B-B271-6DF568DBEADA}" dt="2026-02-12T08:25:16.518" v="13" actId="27918"/>
        <pc:sldMkLst>
          <pc:docMk/>
          <pc:sldMk cId="1708932620" sldId="407"/>
        </pc:sldMkLst>
        <pc:spChg chg="mod">
          <ac:chgData name="Weigel Stefan (PAR-EPS)" userId="fd3b2067-2981-4ad8-bf3a-d2e1004e4fa8" providerId="ADAL" clId="{A4CFA2F4-FF8D-446B-B271-6DF568DBEADA}" dt="2026-01-15T16:26:55.815" v="4" actId="20577"/>
          <ac:spMkLst>
            <pc:docMk/>
            <pc:sldMk cId="1708932620" sldId="407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A4CFA2F4-FF8D-446B-B271-6DF568DBEADA}" dt="2026-01-15T16:27:06.793" v="10" actId="20577"/>
          <ac:spMkLst>
            <pc:docMk/>
            <pc:sldMk cId="1708932620" sldId="407"/>
            <ac:spMk id="8" creationId="{06532336-43AE-43F1-8B99-299E3E2FB919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18993080410403"/>
          <c:y val="3.9318010048961703E-2"/>
          <c:w val="0.86105800308019353"/>
          <c:h val="0.7966251011233493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Streckennetzdichte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157-44B7-B3A8-7754B5DE1755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2-A157-44B7-B3A8-7754B5DE1755}"/>
              </c:ext>
            </c:extLst>
          </c:dPt>
          <c:cat>
            <c:strRef>
              <c:f>data!$E$3:$E$17</c:f>
              <c:strCache>
                <c:ptCount val="15"/>
                <c:pt idx="0">
                  <c:v>Norwegen</c:v>
                </c:pt>
                <c:pt idx="1">
                  <c:v>Finnland</c:v>
                </c:pt>
                <c:pt idx="2">
                  <c:v>Schweden</c:v>
                </c:pt>
                <c:pt idx="3">
                  <c:v>Spanien</c:v>
                </c:pt>
                <c:pt idx="4">
                  <c:v>Rumänien</c:v>
                </c:pt>
                <c:pt idx="5">
                  <c:v>Frankreich</c:v>
                </c:pt>
                <c:pt idx="6">
                  <c:v>Italien</c:v>
                </c:pt>
                <c:pt idx="7">
                  <c:v>Dänemark</c:v>
                </c:pt>
                <c:pt idx="8">
                  <c:v>Polen</c:v>
                </c:pt>
                <c:pt idx="9">
                  <c:v>Österreich</c:v>
                </c:pt>
                <c:pt idx="10">
                  <c:v>Grossbritannien</c:v>
                </c:pt>
                <c:pt idx="11">
                  <c:v>Niederlande</c:v>
                </c:pt>
                <c:pt idx="12">
                  <c:v>Deutschland</c:v>
                </c:pt>
                <c:pt idx="13">
                  <c:v>Tschechien</c:v>
                </c:pt>
                <c:pt idx="14">
                  <c:v>Schweiz</c:v>
                </c:pt>
              </c:strCache>
            </c:strRef>
          </c:cat>
          <c:val>
            <c:numRef>
              <c:f>data!$G$3:$G$17</c:f>
              <c:numCache>
                <c:formatCode>0</c:formatCode>
                <c:ptCount val="15"/>
                <c:pt idx="0">
                  <c:v>10.3046664898072</c:v>
                </c:pt>
                <c:pt idx="1">
                  <c:v>17.478746258248101</c:v>
                </c:pt>
                <c:pt idx="2">
                  <c:v>24.366149334859099</c:v>
                </c:pt>
                <c:pt idx="3">
                  <c:v>32.050636088564197</c:v>
                </c:pt>
                <c:pt idx="4">
                  <c:v>44.5096015906174</c:v>
                </c:pt>
                <c:pt idx="5">
                  <c:v>50.677660186468898</c:v>
                </c:pt>
                <c:pt idx="6">
                  <c:v>55.876111878018698</c:v>
                </c:pt>
                <c:pt idx="7">
                  <c:v>57.029702970297002</c:v>
                </c:pt>
                <c:pt idx="8">
                  <c:v>62.9151599086969</c:v>
                </c:pt>
                <c:pt idx="9">
                  <c:v>67.049762750661699</c:v>
                </c:pt>
                <c:pt idx="10">
                  <c:v>68.779331702066003</c:v>
                </c:pt>
                <c:pt idx="11">
                  <c:v>81.4115254962812</c:v>
                </c:pt>
                <c:pt idx="12">
                  <c:v>108.664341707475</c:v>
                </c:pt>
                <c:pt idx="13">
                  <c:v>120.627353526645</c:v>
                </c:pt>
                <c:pt idx="14">
                  <c:v>128.802832279784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157-44B7-B3A8-7754B5DE17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overlap val="100"/>
        <c:axId val="133638400"/>
        <c:axId val="133636864"/>
      </c:barChart>
      <c:valAx>
        <c:axId val="133636864"/>
        <c:scaling>
          <c:orientation val="minMax"/>
          <c:max val="140"/>
        </c:scaling>
        <c:delete val="0"/>
        <c:axPos val="b"/>
        <c:majorGridlines>
          <c:spPr>
            <a:ln>
              <a:solidFill>
                <a:schemeClr val="accent5"/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133638400"/>
        <c:crosses val="autoZero"/>
        <c:crossBetween val="between"/>
        <c:majorUnit val="20"/>
      </c:valAx>
      <c:catAx>
        <c:axId val="13363840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 w="9525">
            <a:solidFill>
              <a:srgbClr val="444444"/>
            </a:solidFill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133636864"/>
        <c:crosses val="autoZero"/>
        <c:auto val="0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Streckennetzdichte in Europa im 2024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167311410"/>
              </p:ext>
            </p:extLst>
          </p:nvPr>
        </p:nvGraphicFramePr>
        <p:xfrm>
          <a:off x="1487488" y="1700809"/>
          <a:ext cx="92202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5353CABD-91F1-4DCF-A637-4F62527C40F1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Meter Eisenbahnstrecke pro Quadratkilometer Landesfläche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06532336-43AE-43F1-8B99-299E3E2FB919}"/>
              </a:ext>
            </a:extLst>
          </p:cNvPr>
          <p:cNvSpPr txBox="1"/>
          <p:nvPr/>
        </p:nvSpPr>
        <p:spPr>
          <a:xfrm rot="16200000">
            <a:off x="9605908" y="3946970"/>
            <a:ext cx="3947678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9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Quellen: Eurostat, BFS</a:t>
            </a:r>
            <a:r>
              <a:rPr kumimoji="0" lang="de-CH" sz="9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, ORR &amp; ONS </a:t>
            </a:r>
            <a:r>
              <a:rPr kumimoji="0" lang="de-CH" sz="9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(GB).</a:t>
            </a:r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688053B1-3C6B-44C3-87A2-469CA7CF83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82280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17089326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purl.org/dc/elements/1.1/"/>
    <ds:schemaRef ds:uri="http://schemas.microsoft.com/office/infopath/2007/PartnerControls"/>
    <ds:schemaRef ds:uri="http://purl.org/dc/terms/"/>
    <ds:schemaRef ds:uri="http://schemas.microsoft.com/office/2006/metadata/properties"/>
    <ds:schemaRef ds:uri="http://schemas.openxmlformats.org/package/2006/metadata/core-properties"/>
    <ds:schemaRef ds:uri="http://schemas.microsoft.com/office/2006/documentManagement/types"/>
    <ds:schemaRef ds:uri="96e82a89-ba48-4728-b345-cf206dbec8f1"/>
    <ds:schemaRef ds:uri="2f5c8543-cf23-4718-a3b8-32b0a91d511a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476519F0-DC40-423E-BDC4-FB266C761F7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2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Streckennetzdichte in Europa im 2024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eckennetzdichte in Europa im 2022.</dc:title>
  <dc:creator>Meyer Raphael (KOM-PGA-VSF)</dc:creator>
  <cp:lastModifiedBy>Weigel Stefan (PAR-EPS)</cp:lastModifiedBy>
  <cp:revision>59</cp:revision>
  <dcterms:created xsi:type="dcterms:W3CDTF">2020-09-30T11:00:09Z</dcterms:created>
  <dcterms:modified xsi:type="dcterms:W3CDTF">2026-03-03T13:15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